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263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48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3B4ED21-C805-49E3-875D-696985B6737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4596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conomia do consumo de energia de pelo menos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5%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com as novas lâmpadas Eco nas Séries 2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Nível de radiação aumentad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Ajuste fácil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Zoneamento mais eficaz e melhor proteção do gargal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stabilidade do processo aumentada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 tubo de quartzo é protegido mecanicament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As capacidades do processo se conservam universai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Combinação de lâmpadas ECO com refletor no topo do forno nas Séries 1 ou nas Séries 2 e obtenção de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uma economia de energia de 30%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no tipo de lâmpadas, baseadas em uma tecnologia comprovada, com duas alturas distintas para se ajustar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o passo progressivo do rack original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4 a 6 lâmpadas: 2kW 400V passo 19 mm 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utras lâmpadas: 2kW 400V passo 14mm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gerenciamento da ventilação do forno foi modernizado. Quando a máquina se imobiliza, a ventilação é mantida a nível estável (100% durante 7 minutos), com o intento de evacuar rapidamente as calorias acumulada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900" dirty="0"/>
              <a:t>Economia de eletricidade de pelo menos 15%</a:t>
            </a:r>
            <a:endParaRPr lang="pt-BR" sz="29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20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Lâmpadas Eco nas Séries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pt-BR" sz="800" kern="0" dirty="0">
                <a:solidFill>
                  <a:srgbClr val="000000"/>
                </a:solidFill>
              </a:rPr>
              <a:t>Valor: Otimização de custos, Sustentabilidade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Séries 2</a:t>
            </a:r>
            <a:r>
              <a:rPr lang="en-US" sz="800" kern="0" dirty="0"/>
              <a:t> </a:t>
            </a:r>
            <a:r>
              <a:rPr lang="en-US" sz="800" kern="0" dirty="0" err="1"/>
              <a:t>exceto</a:t>
            </a:r>
            <a:r>
              <a:rPr lang="en-US" sz="800" kern="0" dirty="0"/>
              <a:t> </a:t>
            </a:r>
            <a:r>
              <a:rPr lang="en-US" sz="800" kern="0" dirty="0" err="1"/>
              <a:t>versão</a:t>
            </a:r>
            <a:r>
              <a:rPr lang="en-US" sz="800" kern="0" dirty="0"/>
              <a:t> </a:t>
            </a:r>
            <a:r>
              <a:rPr lang="en-US" sz="800" kern="0" dirty="0" err="1"/>
              <a:t>calor</a:t>
            </a:r>
            <a:r>
              <a:rPr lang="en-US" sz="800" kern="0" dirty="0"/>
              <a:t> </a:t>
            </a:r>
            <a:r>
              <a:rPr lang="en-US" sz="800" kern="0"/>
              <a:t>configurad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96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509120"/>
            <a:ext cx="2935023" cy="91963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2BE8BEF0-6FEA-46A2-8B56-74529EDF3AE0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F9B0E64-D36C-4350-8DEF-0780EE5815B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760340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2658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33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Economia de eletricidade de pelo menos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1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6:33.253975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1:22.8075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1:22.8075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